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0C9FA05-5E80-4B65-B642-E0E40C56E1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4515547589855301</c:v>
                </c:pt>
                <c:pt idx="5">
                  <c:v>0.03105157554705479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13477890637743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1347789063774303</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072005487767218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067647854424658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06764785442465831</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93255846227439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102356440195470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10235644019547083</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4515547589855301</c:v>
                </c:pt>
                <c:pt idx="5">
                  <c:v>0.03105157554705479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1.4876835877361912e-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8.765991781950135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8.765991781950135e-07</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2823103537123414</c:v>
                </c:pt>
                <c:pt idx="5">
                  <c:v>0.085414562859624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072005487767218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103460955159996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0346095515999654</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6300585341544022</c:v>
                </c:pt>
                <c:pt idx="5">
                  <c:v>0.0098459932187546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50850788674914535</c:v>
                </c:pt>
                <c:pt idx="5">
                  <c:v>0.0949460265390746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8193496303674965</c:v>
                </c:pt>
                <c:pt idx="5">
                  <c:v>0.0129315055729327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293150557293274</c:v>
                </c:pt>
                <c:pt idx="1">
                  <c:v>0.0008193496303674965</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6300585341544022</c:v>
                </c:pt>
                <c:pt idx="5">
                  <c:v>0.0098459932187546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1313980858004695</c:v>
                </c:pt>
                <c:pt idx="5">
                  <c:v>0.01483064000460595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4830640004605952</c:v>
                </c:pt>
                <c:pt idx="1">
                  <c:v>0.001313980858004695</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9494602653907465</c:v>
                </c:pt>
                <c:pt idx="1">
                  <c:v>0.0050850788674914535</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31722693827264343</c:v>
                </c:pt>
                <c:pt idx="5">
                  <c:v>0.0166315113611356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2598453055585228</c:v>
                </c:pt>
                <c:pt idx="5">
                  <c:v>0.01515114969981056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5151149699810568</c:v>
                </c:pt>
                <c:pt idx="1">
                  <c:v>0.0002598453055585228</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5.331774669202151e-08</c:v>
                </c:pt>
                <c:pt idx="5">
                  <c:v>0.0232687118883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155929917078189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559299170781899</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2823103537123414</c:v>
                </c:pt>
                <c:pt idx="5">
                  <c:v>0.085414562859624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6.047012734582927e-08</c:v>
                </c:pt>
                <c:pt idx="5">
                  <c:v>0.019047077076749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130809158535024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3080915853502493</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31722693827264343</c:v>
                </c:pt>
                <c:pt idx="5">
                  <c:v>0.0166315113611356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8480466997969501</c:v>
                </c:pt>
                <c:pt idx="5">
                  <c:v>0.02229863540531446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2298635405314463</c:v>
                </c:pt>
                <c:pt idx="1">
                  <c:v>0.0008480466997969501</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5.331774669202151e-08</c:v>
                </c:pt>
                <c:pt idx="5">
                  <c:v>0.0232687118883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2891506821952563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8915068219525632</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6.047012734582927e-08</c:v>
                </c:pt>
                <c:pt idx="5">
                  <c:v>0.019047077076749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25014109161964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501410916196438</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218062339309079</c:v>
                </c:pt>
                <c:pt idx="5">
                  <c:v>0.015932368661814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26454046997988044</c:v>
                </c:pt>
                <c:pt idx="5">
                  <c:v>0.02412044103027059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4120441030270594</c:v>
                </c:pt>
                <c:pt idx="1">
                  <c:v>0.00026454046997988044</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5.978097315827744e-07</c:v>
                </c:pt>
                <c:pt idx="5">
                  <c:v>0.26089313400869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6.301469131890739e-08</c:v>
                </c:pt>
                <c:pt idx="5">
                  <c:v>0.0275005764922089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32536258353921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3253625835392131</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7.146788161778521e-08</c:v>
                </c:pt>
                <c:pt idx="5">
                  <c:v>0.022511185430467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28979485020654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272948001726734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729480017267349</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218062339309079</c:v>
                </c:pt>
                <c:pt idx="5">
                  <c:v>0.015932368661814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04729211420974601</c:v>
                </c:pt>
                <c:pt idx="5">
                  <c:v>0.0190197024381994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19019702438199462</c:v>
                </c:pt>
                <c:pt idx="1">
                  <c:v>0.0004729211420974601</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2897948502065428</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6.301469131890739e-08</c:v>
                </c:pt>
                <c:pt idx="5">
                  <c:v>0.0275005764922089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303803780949932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3038037809499322</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7.146788161778521e-08</c:v>
                </c:pt>
                <c:pt idx="5">
                  <c:v>0.0225111854304672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26281732703530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628173270353014</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6.780037199658295e-07</c:v>
                </c:pt>
                <c:pt idx="5">
                  <c:v>0.204385417003162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0.004820224078680782</c:v>
                </c:pt>
                <c:pt idx="5">
                  <c:v>0.1127746169669212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23419356127299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234193561272996</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5.978097315827744e-07</c:v>
                </c:pt>
                <c:pt idx="5">
                  <c:v>0.26089313400869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2787515360340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278751536034013</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11277461696692123</c:v>
                </c:pt>
                <c:pt idx="1">
                  <c:v>0.004820224078680782</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6.780037199658295e-07</c:v>
                </c:pt>
                <c:pt idx="5">
                  <c:v>0.204385417003162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2284566228791441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22845662287914417</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213491897843372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2135647756597255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0.021356477565972556</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5.780621953104889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5.7826951739594654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9316789349780691</c:v>
                </c:pt>
                <c:pt idx="3">
                  <c:v/>
                </c:pt>
                <c:pt idx="4">
                  <c:v>0.0009878388375108254</c:v>
                </c:pt>
                <c:pt idx="5">
                  <c:v>0.98969537181270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5.7826951739594654e-06</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16886055485574748</c:v>
                </c:pt>
                <c:pt idx="3">
                  <c:v/>
                </c:pt>
                <c:pt idx="4">
                  <c:v>1.823336893582521e-05</c:v>
                </c:pt>
                <c:pt idx="5">
                  <c:v>0.017942105789542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
                </c:pt>
                <c:pt idx="3">
                  <c:v/>
                </c:pt>
                <c:pt idx="4">
                  <c:v/>
                </c:pt>
                <c:pt idx="5">
                  <c:v>0.093255846227439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pt idx="0">
                  <c:v/>
                </c:pt>
                <c:pt idx="1">
                  <c:v/>
                </c:pt>
                <c:pt idx="2">
                  <c:v>0.0007156196535661383</c:v>
                </c:pt>
                <c:pt idx="3">
                  <c:v/>
                </c:pt>
                <c:pt idx="4">
                  <c:v>7.587558977012976e-05</c:v>
                </c:pt>
                <c:pt idx="5">
                  <c:v>0.0760181895847298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8939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85611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40340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32686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4912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62676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3669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29074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3664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60911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9201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95562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98053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218287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5823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7388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57601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4550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961014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84184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820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86590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0400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6454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3385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77052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35254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